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14.xml" ContentType="application/vnd.openxmlformats-officedocument.presentationml.tags+xml"/>
  <Override PartName="/docProps/app.xml" ContentType="application/vnd.openxmlformats-officedocument.extended-propertie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68" r:id="rId2"/>
  </p:sldMasterIdLst>
  <p:notesMasterIdLst>
    <p:notesMasterId r:id="rId12"/>
  </p:notesMasterIdLst>
  <p:sldIdLst>
    <p:sldId id="299" r:id="rId3"/>
    <p:sldId id="300" r:id="rId4"/>
    <p:sldId id="288" r:id="rId5"/>
    <p:sldId id="295" r:id="rId6"/>
    <p:sldId id="294" r:id="rId7"/>
    <p:sldId id="302" r:id="rId8"/>
    <p:sldId id="303" r:id="rId9"/>
    <p:sldId id="311" r:id="rId10"/>
    <p:sldId id="312" r:id="rId11"/>
  </p:sldIdLst>
  <p:sldSz cx="12192000" cy="6858000"/>
  <p:notesSz cx="6858000" cy="9144000"/>
  <p:custDataLst>
    <p:tags r:id="rId13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B00"/>
    <a:srgbClr val="E98300"/>
    <a:srgbClr val="ED9C33"/>
    <a:srgbClr val="F4C180"/>
    <a:srgbClr val="8B73A7"/>
    <a:srgbClr val="B6A7C8"/>
    <a:srgbClr val="C4262E"/>
    <a:srgbClr val="DC7D82"/>
    <a:srgbClr val="988F86"/>
    <a:srgbClr val="CBC7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01" autoAdjust="0"/>
    <p:restoredTop sz="88047" autoAdjust="0"/>
  </p:normalViewPr>
  <p:slideViewPr>
    <p:cSldViewPr snapToObjects="1" showGuides="1">
      <p:cViewPr varScale="1">
        <p:scale>
          <a:sx n="87" d="100"/>
          <a:sy n="87" d="100"/>
        </p:scale>
        <p:origin x="-96" y="-342"/>
      </p:cViewPr>
      <p:guideLst>
        <p:guide orient="horz" pos="164"/>
        <p:guide orient="horz" pos="4162"/>
        <p:guide orient="horz" pos="845"/>
        <p:guide orient="horz" pos="799"/>
        <p:guide orient="horz" pos="3725"/>
        <p:guide pos="1928"/>
        <p:guide pos="211"/>
        <p:guide pos="7469"/>
        <p:guide pos="5752"/>
        <p:guide pos="5624"/>
        <p:guide pos="3905"/>
        <p:guide pos="3776"/>
        <p:guide pos="205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customXml" Target="../customXml/item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customXml" Target="../customXml/item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C5E0D-B76F-47A8-91B1-C71AD6BE59C3}" type="datetimeFigureOut">
              <a:rPr lang="en-US" smtClean="0"/>
              <a:t>11/12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2EC2AB-FD5C-4EF7-AF8D-FB95907AF3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878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Doel en opbouw toelichte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55634F-4CAB-4F28-926E-7867AA8AFAD2}" type="slidenum">
              <a:rPr lang="nl-NL" smtClean="0"/>
              <a:pPr/>
              <a:t>1</a:t>
            </a:fld>
            <a:endParaRPr lang="nl-NL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Weging</a:t>
            </a:r>
            <a:r>
              <a:rPr lang="nl-NL" baseline="0" dirty="0" smtClean="0"/>
              <a:t> toevoegen – met balans</a:t>
            </a:r>
          </a:p>
          <a:p>
            <a:r>
              <a:rPr lang="nl-NL" baseline="0" dirty="0" smtClean="0"/>
              <a:t>Indien haalbaar grafieken met meetresultaten</a:t>
            </a:r>
          </a:p>
          <a:p>
            <a:r>
              <a:rPr lang="nl-NL" baseline="0" dirty="0" smtClean="0"/>
              <a:t>Schaalbaarheid</a:t>
            </a:r>
          </a:p>
          <a:p>
            <a:r>
              <a:rPr lang="nl-NL" baseline="0" dirty="0" smtClean="0"/>
              <a:t>Kosten transparanti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55634F-4CAB-4F28-926E-7867AA8AFAD2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12992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2517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47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dirty="0" err="1" smtClean="0"/>
              <a:t>Vervangen</a:t>
            </a:r>
            <a:r>
              <a:rPr lang="en-GB" dirty="0" smtClean="0"/>
              <a:t> door </a:t>
            </a:r>
            <a:r>
              <a:rPr lang="en-GB" dirty="0" err="1" smtClean="0"/>
              <a:t>nieuw</a:t>
            </a:r>
            <a:r>
              <a:rPr lang="en-GB" dirty="0" smtClean="0"/>
              <a:t> </a:t>
            </a:r>
            <a:r>
              <a:rPr lang="en-GB" dirty="0" err="1" smtClean="0"/>
              <a:t>beeldmateriaal</a:t>
            </a:r>
            <a:r>
              <a:rPr lang="en-GB" dirty="0" smtClean="0"/>
              <a:t> – </a:t>
            </a:r>
            <a:r>
              <a:rPr lang="en-GB" dirty="0" err="1" smtClean="0"/>
              <a:t>combi</a:t>
            </a:r>
            <a:r>
              <a:rPr lang="en-GB" dirty="0" smtClean="0"/>
              <a:t> met </a:t>
            </a:r>
            <a:r>
              <a:rPr lang="en-GB" dirty="0" err="1" smtClean="0"/>
              <a:t>Centraal</a:t>
            </a:r>
            <a:r>
              <a:rPr lang="en-GB" dirty="0" smtClean="0"/>
              <a:t> – </a:t>
            </a:r>
            <a:r>
              <a:rPr lang="en-GB" dirty="0" err="1" smtClean="0"/>
              <a:t>Lokaal</a:t>
            </a:r>
            <a:r>
              <a:rPr lang="en-GB" dirty="0" smtClean="0"/>
              <a:t> </a:t>
            </a:r>
            <a:r>
              <a:rPr lang="en-GB" dirty="0" err="1" smtClean="0"/>
              <a:t>beeld</a:t>
            </a:r>
            <a:r>
              <a:rPr lang="en-GB" dirty="0" smtClean="0"/>
              <a:t>.</a:t>
            </a:r>
          </a:p>
        </p:txBody>
      </p:sp>
      <p:sp>
        <p:nvSpPr>
          <p:cNvPr id="747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86E949F-A13D-44B1-A3EA-ACDCBEA2ED01}" type="slidenum">
              <a:rPr lang="en-GB" smtClean="0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dirty="0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55FC8B4-62DC-4AE7-9476-F2FB7CF52F97}" type="slidenum">
              <a:rPr lang="en-GB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econd</a:t>
            </a:r>
            <a:r>
              <a:rPr lang="en-US" baseline="0" dirty="0" smtClean="0"/>
              <a:t> phase of PMC is to d</a:t>
            </a:r>
            <a:r>
              <a:rPr lang="en-US" dirty="0" smtClean="0"/>
              <a:t>emonstrate new end user propositions. These are based on actual data enabling real time pricing and insights in your own energy consumption</a:t>
            </a:r>
            <a:r>
              <a:rPr lang="en-US" baseline="0" dirty="0" smtClean="0"/>
              <a:t> as well as energy production and a minute-by-minute basis.</a:t>
            </a:r>
            <a:endParaRPr lang="en-US" dirty="0" smtClean="0"/>
          </a:p>
          <a:p>
            <a:r>
              <a:rPr lang="en-US" dirty="0" smtClean="0"/>
              <a:t>Phase 2:</a:t>
            </a:r>
            <a:r>
              <a:rPr lang="en-US" baseline="0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Implement the PowerMatcher solution in the wholesale and billing proce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Validate the peak load reduction potential of the grid by extending the field trial with households behind a single transform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Expand the smart electric vehicle charging experi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Validate the cost-benefit model with data from the field trial</a:t>
            </a:r>
          </a:p>
          <a:p>
            <a:endParaRPr lang="en-GB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GB" dirty="0" smtClean="0"/>
              <a:t>From commodity to service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dirty="0" smtClean="0"/>
              <a:t>Consumers</a:t>
            </a:r>
            <a:r>
              <a:rPr lang="en-GB" baseline="0" dirty="0" smtClean="0"/>
              <a:t> can choose: source of energy, provider, moment of delivery, …</a:t>
            </a:r>
            <a:endParaRPr lang="en-GB" dirty="0" smtClean="0"/>
          </a:p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D89E8E70-1D69-4BC0-AC06-2F09CEB9F783}" type="datetime4">
              <a:rPr lang="en-GB" smtClean="0"/>
              <a:pPr/>
              <a:t>12 November 201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258BE3-425E-44FE-9E4F-46F3EB7D50FE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12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10" Type="http://schemas.openxmlformats.org/officeDocument/2006/relationships/image" Target="../media/image10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1125538"/>
            <a:ext cx="11857565" cy="31527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433" y="1605600"/>
            <a:ext cx="8593668" cy="702502"/>
          </a:xfrm>
        </p:spPr>
        <p:txBody>
          <a:bodyPr>
            <a:noAutofit/>
          </a:bodyPr>
          <a:lstStyle>
            <a:lvl1pPr>
              <a:lnSpc>
                <a:spcPct val="91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-3601" y="4179682"/>
            <a:ext cx="11862000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0" y="6195600"/>
            <a:ext cx="11857567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9131301" y="6481529"/>
            <a:ext cx="272754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cap="all" baseline="0" noProof="1" smtClean="0">
                <a:solidFill>
                  <a:schemeClr val="accent2"/>
                </a:solidFill>
              </a:rPr>
              <a:t>Safer, smarter, greener</a:t>
            </a:r>
            <a:endParaRPr lang="en-GB" sz="1000" b="1" cap="all" baseline="0" noProof="1">
              <a:solidFill>
                <a:schemeClr val="accent2"/>
              </a:solidFill>
            </a:endParaRPr>
          </a:p>
        </p:txBody>
      </p:sp>
      <p:pic>
        <p:nvPicPr>
          <p:cNvPr id="23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20" r="1"/>
          <a:stretch/>
        </p:blipFill>
        <p:spPr bwMode="auto">
          <a:xfrm>
            <a:off x="1" y="260350"/>
            <a:ext cx="11857037" cy="59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7"/>
          </p:nvPr>
        </p:nvSpPr>
        <p:spPr>
          <a:xfrm>
            <a:off x="334431" y="6508356"/>
            <a:ext cx="276467" cy="179340"/>
          </a:xfrm>
        </p:spPr>
        <p:txBody>
          <a:bodyPr/>
          <a:lstStyle/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610899" y="6508357"/>
            <a:ext cx="8399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noProof="0" dirty="0" smtClean="0">
                <a:solidFill>
                  <a:schemeClr val="tx1"/>
                </a:solidFill>
              </a:rPr>
              <a:t>DNV GL © </a:t>
            </a:r>
            <a:r>
              <a:rPr lang="en-GB" sz="800" noProof="0" dirty="0" smtClean="0">
                <a:solidFill>
                  <a:schemeClr val="tx1"/>
                </a:solidFill>
              </a:rPr>
              <a:t>2014</a:t>
            </a:r>
            <a:endParaRPr lang="en-GB" sz="800" noProof="0" dirty="0">
              <a:solidFill>
                <a:schemeClr val="tx1"/>
              </a:solidFill>
            </a:endParaRPr>
          </a:p>
        </p:txBody>
      </p:sp>
      <p:sp>
        <p:nvSpPr>
          <p:cNvPr id="21" name="bmkDraft"/>
          <p:cNvSpPr txBox="1">
            <a:spLocks noChangeArrowheads="1"/>
          </p:cNvSpPr>
          <p:nvPr userDrawn="1"/>
        </p:nvSpPr>
        <p:spPr bwMode="auto">
          <a:xfrm>
            <a:off x="5338800" y="59256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6" name="bmkFldAuthorName"/>
          <p:cNvSpPr txBox="1">
            <a:spLocks noChangeArrowheads="1"/>
          </p:cNvSpPr>
          <p:nvPr userDrawn="1"/>
        </p:nvSpPr>
        <p:spPr bwMode="auto">
          <a:xfrm>
            <a:off x="334431" y="3542827"/>
            <a:ext cx="8593670" cy="291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mar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altLang="ja-JP" sz="18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Irin Bouwman</a:t>
            </a:r>
            <a:endParaRPr lang="en-GB" altLang="ja-JP" sz="1800" b="1" kern="1200" baseline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bmkFldDate"/>
          <p:cNvSpPr/>
          <p:nvPr userDrawn="1"/>
        </p:nvSpPr>
        <p:spPr>
          <a:xfrm>
            <a:off x="334433" y="3834426"/>
            <a:ext cx="8593668" cy="33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sz="18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eptember 24</a:t>
            </a:r>
            <a:r>
              <a:rPr lang="en-GB" sz="1800" b="0" kern="1200" baseline="300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th</a:t>
            </a:r>
            <a:r>
              <a:rPr lang="en-GB" sz="18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2014</a:t>
            </a:r>
          </a:p>
        </p:txBody>
      </p:sp>
      <p:sp>
        <p:nvSpPr>
          <p:cNvPr id="28" name="bmkConfidentiality"/>
          <p:cNvSpPr/>
          <p:nvPr userDrawn="1"/>
        </p:nvSpPr>
        <p:spPr>
          <a:xfrm>
            <a:off x="334433" y="6022832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bmkFldDocumentNumber"/>
          <p:cNvSpPr txBox="1">
            <a:spLocks noChangeArrowheads="1"/>
          </p:cNvSpPr>
          <p:nvPr userDrawn="1"/>
        </p:nvSpPr>
        <p:spPr bwMode="auto">
          <a:xfrm>
            <a:off x="1886137" y="6508356"/>
            <a:ext cx="4109851" cy="180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800" dirty="0">
              <a:solidFill>
                <a:srgbClr val="000000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30" name="bmkBusinessAreaName"/>
          <p:cNvSpPr/>
          <p:nvPr userDrawn="1"/>
        </p:nvSpPr>
        <p:spPr>
          <a:xfrm>
            <a:off x="334431" y="1360800"/>
            <a:ext cx="8593669" cy="209126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GB" sz="12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ergy</a:t>
            </a:r>
            <a:endParaRPr lang="en-GB" sz="1200" b="1" kern="1200" cap="all" baseline="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Subtitle 2"/>
          <p:cNvSpPr>
            <a:spLocks noGrp="1"/>
          </p:cNvSpPr>
          <p:nvPr>
            <p:ph type="subTitle" idx="1"/>
          </p:nvPr>
        </p:nvSpPr>
        <p:spPr>
          <a:xfrm>
            <a:off x="334962" y="2420888"/>
            <a:ext cx="8593137" cy="648072"/>
          </a:xfrm>
        </p:spPr>
        <p:txBody>
          <a:bodyPr/>
          <a:lstStyle>
            <a:lvl1pPr marL="0" indent="0" algn="l" defTabSz="914400" rtl="0" eaLnBrk="1" latinLnBrk="0" hangingPunct="1">
              <a:buNone/>
              <a:defRPr lang="en-US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53930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4963" y="1270801"/>
            <a:ext cx="5659437" cy="464263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6199188" y="1268413"/>
            <a:ext cx="5657452" cy="4645025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4956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943200"/>
            <a:ext cx="11856000" cy="4679687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noProof="0" smtClean="0"/>
              <a:t>Sunday 19 november 2014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30598" y="5678682"/>
            <a:ext cx="11526041" cy="23475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7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0" y="5508267"/>
            <a:ext cx="11856000" cy="2794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3425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71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96518" y="6537523"/>
            <a:ext cx="5662084" cy="1603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bmkFld6Date"/>
          <p:cNvSpPr txBox="1">
            <a:spLocks noChangeArrowheads="1"/>
          </p:cNvSpPr>
          <p:nvPr userDrawn="1"/>
        </p:nvSpPr>
        <p:spPr bwMode="auto">
          <a:xfrm>
            <a:off x="2255572" y="6508356"/>
            <a:ext cx="3740415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en-GB" altLang="ja-JP" sz="800" smtClean="0">
                <a:solidFill>
                  <a:schemeClr val="tx1"/>
                </a:solidFill>
                <a:ea typeface="ＭＳ Ｐゴシック" charset="-128"/>
                <a:cs typeface="Arial" charset="0"/>
              </a:rPr>
              <a:t>26 May 2014</a:t>
            </a:r>
            <a:endParaRPr lang="en-GB" altLang="ja-JP" sz="8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7" name="bmkConfidentiality6"/>
          <p:cNvSpPr/>
          <p:nvPr userDrawn="1"/>
        </p:nvSpPr>
        <p:spPr>
          <a:xfrm>
            <a:off x="334433" y="6022832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bmkDraft6"/>
          <p:cNvSpPr txBox="1">
            <a:spLocks noChangeArrowheads="1"/>
          </p:cNvSpPr>
          <p:nvPr userDrawn="1"/>
        </p:nvSpPr>
        <p:spPr bwMode="auto">
          <a:xfrm>
            <a:off x="5340350" y="5927025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9145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260350"/>
            <a:ext cx="11857565" cy="31612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4" y="1262573"/>
            <a:ext cx="11234175" cy="1304415"/>
          </a:xfrm>
        </p:spPr>
        <p:txBody>
          <a:bodyPr anchor="t" anchorCtr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noProof="0" smtClean="0"/>
              <a:t>Sunday 19 november 2014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3319536"/>
            <a:ext cx="11857567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34430" y="3518053"/>
            <a:ext cx="8593669" cy="216024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34430" y="3803626"/>
            <a:ext cx="8593669" cy="27688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Insert Email addres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34430" y="4080506"/>
            <a:ext cx="8593669" cy="320602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Insert Telephone numb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4434" y="5769261"/>
            <a:ext cx="272754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 b="1" cap="all" baseline="0" noProof="1" smtClean="0">
                <a:solidFill>
                  <a:schemeClr val="accent2"/>
                </a:solidFill>
              </a:rPr>
              <a:t>Safer, smarter, greener</a:t>
            </a:r>
            <a:endParaRPr lang="en-GB" sz="1000" b="1" cap="all" baseline="0" noProof="1">
              <a:solidFill>
                <a:schemeClr val="accent2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332885" y="4869160"/>
            <a:ext cx="27275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 cap="none" baseline="0" noProof="1" smtClean="0">
                <a:solidFill>
                  <a:schemeClr val="tx1"/>
                </a:solidFill>
              </a:rPr>
              <a:t>www.dnvgl.com</a:t>
            </a:r>
            <a:endParaRPr lang="en-GB" sz="1400" b="1" cap="none" baseline="0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8798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8915"/>
            <a:ext cx="1233554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18301" y="3704400"/>
            <a:ext cx="11746945" cy="946800"/>
          </a:xfrm>
        </p:spPr>
        <p:txBody>
          <a:bodyPr lIns="201564"/>
          <a:lstStyle>
            <a:lvl1pPr>
              <a:lnSpc>
                <a:spcPts val="4223"/>
              </a:lnSpc>
              <a:defRPr sz="4400">
                <a:solidFill>
                  <a:srgbClr val="66666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218301" y="4726800"/>
            <a:ext cx="11746945" cy="286376"/>
          </a:xfrm>
        </p:spPr>
        <p:txBody>
          <a:bodyPr lIns="201564"/>
          <a:lstStyle>
            <a:lvl1pPr marL="0" indent="0" algn="l">
              <a:buNone/>
              <a:defRPr>
                <a:solidFill>
                  <a:srgbClr val="666666"/>
                </a:solidFill>
              </a:defRPr>
            </a:lvl1pPr>
            <a:lvl2pPr marL="609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218293" y="5568037"/>
            <a:ext cx="11770507" cy="210468"/>
          </a:xfrm>
        </p:spPr>
        <p:txBody>
          <a:bodyPr lIns="201564" rIns="81585"/>
          <a:lstStyle>
            <a:lvl1pPr>
              <a:lnSpc>
                <a:spcPts val="2133"/>
              </a:lnSpc>
              <a:defRPr sz="1700">
                <a:solidFill>
                  <a:srgbClr val="666666"/>
                </a:solidFill>
              </a:defRPr>
            </a:lvl1pPr>
          </a:lstStyle>
          <a:p>
            <a:r>
              <a:rPr lang="nl-NL" smtClean="0"/>
              <a:t>Sunday 19 november 2014</a:t>
            </a:r>
            <a:endParaRPr lang="nl-NL" dirty="0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218302" y="5373221"/>
            <a:ext cx="11763639" cy="185900"/>
          </a:xfrm>
        </p:spPr>
        <p:txBody>
          <a:bodyPr lIns="201564"/>
          <a:lstStyle>
            <a:lvl1pPr marL="0" indent="0">
              <a:lnSpc>
                <a:spcPts val="2133"/>
              </a:lnSpc>
              <a:spcAft>
                <a:spcPts val="0"/>
              </a:spcAft>
              <a:buNone/>
              <a:defRPr sz="1700">
                <a:solidFill>
                  <a:srgbClr val="666666"/>
                </a:solidFill>
              </a:defRPr>
            </a:lvl1pPr>
            <a:lvl2pPr marL="244757" indent="0">
              <a:buNone/>
              <a:defRPr/>
            </a:lvl2pPr>
            <a:lvl3pPr marL="475115" indent="0">
              <a:buNone/>
              <a:defRPr/>
            </a:lvl3pPr>
            <a:lvl4pPr marL="729470" indent="0">
              <a:buNone/>
              <a:defRPr/>
            </a:lvl4pPr>
            <a:lvl5pPr marL="964627" indent="0">
              <a:buNone/>
              <a:defRPr/>
            </a:lvl5pPr>
          </a:lstStyle>
          <a:p>
            <a:pPr lvl="0"/>
            <a:r>
              <a:rPr lang="nl-NL" dirty="0" smtClean="0"/>
              <a:t>Author nam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11586837" y="545702"/>
            <a:ext cx="900016" cy="114053"/>
          </a:xfrm>
        </p:spPr>
        <p:txBody>
          <a:bodyPr/>
          <a:lstStyle>
            <a:lvl1pPr marL="0" indent="0">
              <a:lnSpc>
                <a:spcPts val="1333"/>
              </a:lnSpc>
              <a:spcAft>
                <a:spcPts val="0"/>
              </a:spcAft>
              <a:buNone/>
              <a:defRPr sz="900"/>
            </a:lvl1pPr>
          </a:lstStyle>
          <a:p>
            <a:pPr lvl="0"/>
            <a:r>
              <a:rPr lang="nl-NL" dirty="0" smtClean="0"/>
              <a:t>Document </a:t>
            </a:r>
            <a:r>
              <a:rPr lang="nl-NL" dirty="0" err="1" smtClean="0"/>
              <a:t>number</a:t>
            </a:r>
            <a:endParaRPr lang="nl-NL" dirty="0" smtClean="0"/>
          </a:p>
        </p:txBody>
      </p:sp>
      <p:cxnSp>
        <p:nvCxnSpPr>
          <p:cNvPr id="13" name="Rechte verbindingslijn 7"/>
          <p:cNvCxnSpPr/>
          <p:nvPr userDrawn="1"/>
        </p:nvCxnSpPr>
        <p:spPr>
          <a:xfrm>
            <a:off x="201600" y="6192000"/>
            <a:ext cx="11784000" cy="0"/>
          </a:xfrm>
          <a:prstGeom prst="line">
            <a:avLst/>
          </a:prstGeom>
          <a:ln w="6350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2" descr="logo-ESSENT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0401" y="6348504"/>
            <a:ext cx="1267868" cy="377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3" descr="ekc_LOGO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483"/>
          <a:stretch/>
        </p:blipFill>
        <p:spPr bwMode="auto">
          <a:xfrm>
            <a:off x="8900160" y="6282861"/>
            <a:ext cx="1463040" cy="492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8" descr="GET-logo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5413" y="6477001"/>
            <a:ext cx="1270588" cy="290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18" descr="tno logo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25"/>
          <a:stretch>
            <a:fillRect/>
          </a:stretch>
        </p:blipFill>
        <p:spPr bwMode="auto">
          <a:xfrm>
            <a:off x="6305712" y="6372667"/>
            <a:ext cx="1250147" cy="403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1" descr="C:\Documents and Settings\01151\My Documents\My Pictures\Logos\ict_automatisering__logo_567.pn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18401" y="6385053"/>
            <a:ext cx="1436001" cy="359633"/>
          </a:xfrm>
          <a:prstGeom prst="rect">
            <a:avLst/>
          </a:prstGeom>
          <a:noFill/>
        </p:spPr>
      </p:pic>
      <p:sp>
        <p:nvSpPr>
          <p:cNvPr id="24" name="Rectangle 23"/>
          <p:cNvSpPr/>
          <p:nvPr userDrawn="1"/>
        </p:nvSpPr>
        <p:spPr>
          <a:xfrm>
            <a:off x="10769600" y="6248400"/>
            <a:ext cx="1422400" cy="533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/>
            <a:endParaRPr lang="nl-NL"/>
          </a:p>
        </p:txBody>
      </p:sp>
      <p:pic>
        <p:nvPicPr>
          <p:cNvPr id="25" name="Picture 19" descr="TUdelft-logo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74401" y="6273800"/>
            <a:ext cx="1040479" cy="450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20" descr="TUE logo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64800" y="6415096"/>
            <a:ext cx="536448" cy="283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2800" y="6340832"/>
            <a:ext cx="1238251" cy="473177"/>
          </a:xfrm>
          <a:prstGeom prst="rect">
            <a:avLst/>
          </a:prstGeom>
        </p:spPr>
      </p:pic>
      <p:pic>
        <p:nvPicPr>
          <p:cNvPr id="4098" name="Picture 2" descr="\\arn-srv-fil-002.kema.intra\gcs\Projects\74100304 PowerMatchingCity - Fase 2\BeeldMateriaal\Logos Partners\DNV_GL_LOGO_RGB_digital.jpg"/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85" t="12771" r="4153" b="11157"/>
          <a:stretch/>
        </p:blipFill>
        <p:spPr bwMode="auto">
          <a:xfrm>
            <a:off x="143543" y="6340831"/>
            <a:ext cx="1636167" cy="473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5251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noProof="0" smtClean="0"/>
              <a:t>Sunday 19 november 2014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34432" y="1268413"/>
            <a:ext cx="11522209" cy="4645025"/>
          </a:xfr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200"/>
              </a:spcBef>
              <a:buClr>
                <a:srgbClr val="333333"/>
              </a:buClr>
              <a:buFont typeface="+mj-lt"/>
              <a:buAutoNum type="arabicPeriod"/>
              <a:defRPr b="1"/>
            </a:lvl1pPr>
            <a:lvl2pPr marL="522000" indent="-180000">
              <a:buFont typeface="Wingdings" panose="05000000000000000000" pitchFamily="2" charset="2"/>
              <a:buChar char="§"/>
              <a:defRPr/>
            </a:lvl2pPr>
            <a:lvl3pPr marL="738000">
              <a:defRPr/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77404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795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1125538"/>
            <a:ext cx="11857567" cy="34777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432" y="1728000"/>
            <a:ext cx="11090160" cy="1909957"/>
          </a:xfrm>
        </p:spPr>
        <p:txBody>
          <a:bodyPr anchor="t" anchorCtr="0">
            <a:noAutofit/>
          </a:bodyPr>
          <a:lstStyle>
            <a:lvl1pPr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4503543"/>
            <a:ext cx="11857567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20" r="1"/>
          <a:stretch/>
        </p:blipFill>
        <p:spPr bwMode="auto">
          <a:xfrm>
            <a:off x="1" y="260350"/>
            <a:ext cx="11857037" cy="59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/>
          <p:nvPr userDrawn="1"/>
        </p:nvCxnSpPr>
        <p:spPr>
          <a:xfrm>
            <a:off x="0" y="6195600"/>
            <a:ext cx="11857567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Box 23"/>
          <p:cNvSpPr txBox="1"/>
          <p:nvPr userDrawn="1"/>
        </p:nvSpPr>
        <p:spPr>
          <a:xfrm>
            <a:off x="9131301" y="6481529"/>
            <a:ext cx="272754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cap="all" baseline="0" noProof="1" smtClean="0">
                <a:solidFill>
                  <a:schemeClr val="accent2"/>
                </a:solidFill>
              </a:rPr>
              <a:t>Safer, smarter, greener</a:t>
            </a:r>
            <a:endParaRPr lang="en-GB" sz="1000" b="1" cap="all" baseline="0" noProof="1">
              <a:solidFill>
                <a:schemeClr val="accent2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10899" y="6508357"/>
            <a:ext cx="8399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noProof="0" dirty="0" smtClean="0">
                <a:solidFill>
                  <a:schemeClr val="tx1"/>
                </a:solidFill>
              </a:rPr>
              <a:t>DNV GL © </a:t>
            </a:r>
            <a:r>
              <a:rPr lang="en-GB" sz="800" noProof="0" dirty="0" smtClean="0">
                <a:solidFill>
                  <a:schemeClr val="tx1"/>
                </a:solidFill>
              </a:rPr>
              <a:t>2014</a:t>
            </a:r>
            <a:endParaRPr lang="en-GB" sz="800" noProof="0" dirty="0">
              <a:solidFill>
                <a:schemeClr val="tx1"/>
              </a:solidFill>
            </a:endParaRPr>
          </a:p>
        </p:txBody>
      </p:sp>
      <p:sp>
        <p:nvSpPr>
          <p:cNvPr id="16" name="bmkDraft4"/>
          <p:cNvSpPr txBox="1">
            <a:spLocks noChangeArrowheads="1"/>
          </p:cNvSpPr>
          <p:nvPr userDrawn="1"/>
        </p:nvSpPr>
        <p:spPr bwMode="auto">
          <a:xfrm>
            <a:off x="5338800" y="59256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2" name="bmkConfidentiality4"/>
          <p:cNvSpPr/>
          <p:nvPr userDrawn="1"/>
        </p:nvSpPr>
        <p:spPr>
          <a:xfrm>
            <a:off x="334433" y="6022832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bmkBusinessAreaName"/>
          <p:cNvSpPr/>
          <p:nvPr userDrawn="1"/>
        </p:nvSpPr>
        <p:spPr>
          <a:xfrm>
            <a:off x="334431" y="1360800"/>
            <a:ext cx="8593669" cy="209126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GB" sz="12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ergy</a:t>
            </a:r>
            <a:endParaRPr lang="en-GB" sz="1200" b="1" kern="1200" cap="all" baseline="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74833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0" y="1126596"/>
            <a:ext cx="11857565" cy="2970000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FontTx/>
              <a:buNone/>
              <a:defRPr b="0"/>
            </a:lvl1pPr>
          </a:lstStyle>
          <a:p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4121994"/>
            <a:ext cx="11857038" cy="179144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432" y="4719836"/>
            <a:ext cx="11090160" cy="1037283"/>
          </a:xfrm>
        </p:spPr>
        <p:txBody>
          <a:bodyPr anchor="t" anchorCtr="0">
            <a:noAutofit/>
          </a:bodyPr>
          <a:lstStyle>
            <a:lvl1pPr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4101673"/>
            <a:ext cx="11857567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1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9131301" y="6481529"/>
            <a:ext cx="272754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cap="all" baseline="0" noProof="1" smtClean="0">
                <a:solidFill>
                  <a:schemeClr val="accent2"/>
                </a:solidFill>
              </a:rPr>
              <a:t>Safer, smarter, greener</a:t>
            </a:r>
            <a:endParaRPr lang="en-GB" sz="1000" b="1" cap="all" baseline="0" noProof="1">
              <a:solidFill>
                <a:schemeClr val="accent2"/>
              </a:solidFill>
            </a:endParaRPr>
          </a:p>
        </p:txBody>
      </p:sp>
      <p:pic>
        <p:nvPicPr>
          <p:cNvPr id="24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20" r="1"/>
          <a:stretch/>
        </p:blipFill>
        <p:spPr bwMode="auto">
          <a:xfrm>
            <a:off x="1" y="260350"/>
            <a:ext cx="11857037" cy="59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Straight Connector 24"/>
          <p:cNvCxnSpPr/>
          <p:nvPr userDrawn="1"/>
        </p:nvCxnSpPr>
        <p:spPr>
          <a:xfrm>
            <a:off x="0" y="6195600"/>
            <a:ext cx="11857567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610899" y="6508357"/>
            <a:ext cx="8399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noProof="0" dirty="0" smtClean="0">
                <a:solidFill>
                  <a:schemeClr val="tx1"/>
                </a:solidFill>
              </a:rPr>
              <a:t>DNV GL © </a:t>
            </a:r>
            <a:r>
              <a:rPr lang="en-GB" sz="800" noProof="0" dirty="0" smtClean="0">
                <a:solidFill>
                  <a:schemeClr val="tx1"/>
                </a:solidFill>
              </a:rPr>
              <a:t>2014</a:t>
            </a:r>
            <a:endParaRPr lang="en-GB" sz="800" noProof="0" dirty="0">
              <a:solidFill>
                <a:schemeClr val="tx1"/>
              </a:solidFill>
            </a:endParaRPr>
          </a:p>
        </p:txBody>
      </p:sp>
      <p:sp>
        <p:nvSpPr>
          <p:cNvPr id="16" name="bmkDraft5"/>
          <p:cNvSpPr txBox="1">
            <a:spLocks noChangeArrowheads="1"/>
          </p:cNvSpPr>
          <p:nvPr userDrawn="1"/>
        </p:nvSpPr>
        <p:spPr bwMode="auto">
          <a:xfrm>
            <a:off x="5338800" y="59256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0" name="bmkConfidentiality5"/>
          <p:cNvSpPr/>
          <p:nvPr userDrawn="1"/>
        </p:nvSpPr>
        <p:spPr>
          <a:xfrm>
            <a:off x="334433" y="6022832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bmkBusinessAreaName"/>
          <p:cNvSpPr/>
          <p:nvPr userDrawn="1"/>
        </p:nvSpPr>
        <p:spPr>
          <a:xfrm>
            <a:off x="334431" y="4352300"/>
            <a:ext cx="8593669" cy="2091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GB" sz="12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ergy</a:t>
            </a:r>
            <a:endParaRPr lang="en-GB" sz="1200" b="1" kern="1200" cap="all" baseline="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34004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" y="1125538"/>
            <a:ext cx="11857037" cy="2662691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3810227"/>
            <a:ext cx="11857565" cy="2103211"/>
          </a:xfrm>
          <a:prstGeom prst="rect">
            <a:avLst/>
          </a:prstGeom>
          <a:solidFill>
            <a:srgbClr val="009F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433" y="4190400"/>
            <a:ext cx="8593668" cy="736833"/>
          </a:xfrm>
        </p:spPr>
        <p:txBody>
          <a:bodyPr>
            <a:noAutofit/>
          </a:bodyPr>
          <a:lstStyle>
            <a:lvl1pPr>
              <a:lnSpc>
                <a:spcPct val="91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3798614"/>
            <a:ext cx="11857567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Box 23"/>
          <p:cNvSpPr txBox="1"/>
          <p:nvPr userDrawn="1"/>
        </p:nvSpPr>
        <p:spPr>
          <a:xfrm>
            <a:off x="9131301" y="6481529"/>
            <a:ext cx="272754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000" b="1" cap="all" baseline="0" noProof="1" smtClean="0">
                <a:solidFill>
                  <a:schemeClr val="accent2"/>
                </a:solidFill>
              </a:rPr>
              <a:t>Safer, smarter, greener</a:t>
            </a:r>
            <a:endParaRPr lang="en-GB" sz="1000" b="1" cap="all" baseline="0" noProof="1">
              <a:solidFill>
                <a:schemeClr val="accent2"/>
              </a:solidFill>
            </a:endParaRPr>
          </a:p>
        </p:txBody>
      </p:sp>
      <p:pic>
        <p:nvPicPr>
          <p:cNvPr id="25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20" r="1"/>
          <a:stretch/>
        </p:blipFill>
        <p:spPr bwMode="auto">
          <a:xfrm>
            <a:off x="1" y="260350"/>
            <a:ext cx="11857037" cy="59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Straight Connector 25"/>
          <p:cNvCxnSpPr/>
          <p:nvPr userDrawn="1"/>
        </p:nvCxnSpPr>
        <p:spPr>
          <a:xfrm>
            <a:off x="0" y="6195600"/>
            <a:ext cx="11857567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610899" y="6508357"/>
            <a:ext cx="8399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noProof="0" dirty="0" smtClean="0">
                <a:solidFill>
                  <a:schemeClr val="tx1"/>
                </a:solidFill>
              </a:rPr>
              <a:t>DNV GL © </a:t>
            </a:r>
            <a:r>
              <a:rPr lang="en-GB" sz="800" noProof="0" dirty="0" smtClean="0">
                <a:solidFill>
                  <a:schemeClr val="tx1"/>
                </a:solidFill>
              </a:rPr>
              <a:t>2014</a:t>
            </a:r>
            <a:endParaRPr lang="en-GB" sz="800" noProof="0" dirty="0">
              <a:solidFill>
                <a:schemeClr val="tx1"/>
              </a:solidFill>
            </a:endParaRPr>
          </a:p>
        </p:txBody>
      </p:sp>
      <p:sp>
        <p:nvSpPr>
          <p:cNvPr id="20" name="bmkDraft3"/>
          <p:cNvSpPr txBox="1">
            <a:spLocks noChangeArrowheads="1"/>
          </p:cNvSpPr>
          <p:nvPr userDrawn="1"/>
        </p:nvSpPr>
        <p:spPr bwMode="auto">
          <a:xfrm>
            <a:off x="5338800" y="59256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1" name="bmkFld2DocumentNumber"/>
          <p:cNvSpPr txBox="1">
            <a:spLocks noChangeArrowheads="1"/>
          </p:cNvSpPr>
          <p:nvPr userDrawn="1"/>
        </p:nvSpPr>
        <p:spPr bwMode="auto">
          <a:xfrm>
            <a:off x="1886137" y="6508356"/>
            <a:ext cx="4109851" cy="180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800" dirty="0">
              <a:solidFill>
                <a:srgbClr val="000000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2" name="bmkConfidentiality3"/>
          <p:cNvSpPr/>
          <p:nvPr userDrawn="1"/>
        </p:nvSpPr>
        <p:spPr>
          <a:xfrm>
            <a:off x="334433" y="6022832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bmkFld3Date"/>
          <p:cNvSpPr/>
          <p:nvPr userDrawn="1"/>
        </p:nvSpPr>
        <p:spPr>
          <a:xfrm>
            <a:off x="334433" y="5660878"/>
            <a:ext cx="8593668" cy="25256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3F9C35"/>
              </a:buClr>
              <a:buFont typeface="Wingdings 2" pitchFamily="18" charset="2"/>
              <a:buNone/>
            </a:pPr>
            <a:endParaRPr lang="en-GB" sz="1400" b="0" kern="1200" dirty="0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bmkBusinessAreaName"/>
          <p:cNvSpPr/>
          <p:nvPr userDrawn="1"/>
        </p:nvSpPr>
        <p:spPr>
          <a:xfrm>
            <a:off x="334431" y="3944453"/>
            <a:ext cx="8593669" cy="20912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600"/>
              </a:spcBef>
            </a:pPr>
            <a:r>
              <a:rPr lang="en-GB" sz="12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ergy</a:t>
            </a:r>
            <a:endParaRPr lang="en-GB" sz="1200" b="1" kern="1200" cap="all" baseline="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334431" y="5039166"/>
            <a:ext cx="8593670" cy="324036"/>
          </a:xfrm>
        </p:spPr>
        <p:txBody>
          <a:bodyPr/>
          <a:lstStyle>
            <a:lvl1pPr marL="0" indent="0" algn="l" defTabSz="914400" rtl="0" eaLnBrk="1" latinLnBrk="0" hangingPunct="1">
              <a:buNone/>
              <a:defRPr lang="en-US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691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260349"/>
            <a:ext cx="11857565" cy="565027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3" y="1268761"/>
            <a:ext cx="8593667" cy="1298228"/>
          </a:xfrm>
        </p:spPr>
        <p:txBody>
          <a:bodyPr anchor="t">
            <a:noAutofit/>
          </a:bodyPr>
          <a:lstStyle>
            <a:lvl1pPr algn="l">
              <a:defRPr sz="2400" b="1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5794703"/>
            <a:ext cx="11856000" cy="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2900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260349"/>
            <a:ext cx="11856000" cy="5650271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3" y="1268761"/>
            <a:ext cx="8593667" cy="1298228"/>
          </a:xfrm>
        </p:spPr>
        <p:txBody>
          <a:bodyPr anchor="t">
            <a:noAutofit/>
          </a:bodyPr>
          <a:lstStyle>
            <a:lvl1pPr algn="l">
              <a:defRPr sz="2400" b="1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4"/>
          </p:nvPr>
        </p:nvSpPr>
        <p:spPr>
          <a:xfrm>
            <a:off x="0" y="5796000"/>
            <a:ext cx="11856000" cy="2794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981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4431" y="1268414"/>
            <a:ext cx="5659969" cy="464502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188" y="1268414"/>
            <a:ext cx="5657454" cy="464502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8075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433" y="970248"/>
            <a:ext cx="5659967" cy="575287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9187" y="970248"/>
            <a:ext cx="5657453" cy="576000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334431" y="1627201"/>
            <a:ext cx="5659969" cy="4286238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199188" y="1627201"/>
            <a:ext cx="5657454" cy="4286238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11361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" r="-1" b="-44689"/>
          <a:stretch/>
        </p:blipFill>
        <p:spPr bwMode="auto">
          <a:xfrm>
            <a:off x="-1" y="6202575"/>
            <a:ext cx="11856377" cy="589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433" y="241082"/>
            <a:ext cx="11522208" cy="67008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433" y="1268412"/>
            <a:ext cx="11522208" cy="4644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75819" y="6689029"/>
            <a:ext cx="1520697" cy="172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4433" y="6687696"/>
            <a:ext cx="4141386" cy="1741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4431" y="6508356"/>
            <a:ext cx="276467" cy="1793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0899" y="6508357"/>
            <a:ext cx="8399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noProof="0" dirty="0" smtClean="0">
                <a:solidFill>
                  <a:schemeClr val="tx1"/>
                </a:solidFill>
              </a:rPr>
              <a:t>DNV GL © </a:t>
            </a:r>
            <a:r>
              <a:rPr lang="en-GB" sz="800" noProof="0" dirty="0" smtClean="0">
                <a:solidFill>
                  <a:schemeClr val="tx1"/>
                </a:solidFill>
              </a:rPr>
              <a:t>2014</a:t>
            </a:r>
            <a:endParaRPr lang="en-GB" sz="800" noProof="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" y="951174"/>
            <a:ext cx="11856641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mkConfidentiality2"/>
          <p:cNvSpPr/>
          <p:nvPr userDrawn="1"/>
        </p:nvSpPr>
        <p:spPr>
          <a:xfrm>
            <a:off x="334433" y="6022832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bmkDraft2"/>
          <p:cNvSpPr txBox="1">
            <a:spLocks noChangeArrowheads="1"/>
          </p:cNvSpPr>
          <p:nvPr userDrawn="1"/>
        </p:nvSpPr>
        <p:spPr bwMode="auto">
          <a:xfrm>
            <a:off x="5340350" y="5927025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26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51" r:id="rId6"/>
    <p:sldLayoutId id="2147483665" r:id="rId7"/>
    <p:sldLayoutId id="2147483652" r:id="rId8"/>
    <p:sldLayoutId id="2147483653" r:id="rId9"/>
    <p:sldLayoutId id="2147483664" r:id="rId10"/>
    <p:sldLayoutId id="2147483666" r:id="rId11"/>
    <p:sldLayoutId id="2147483654" r:id="rId12"/>
    <p:sldLayoutId id="2147483655" r:id="rId13"/>
    <p:sldLayoutId id="2147483667" r:id="rId14"/>
    <p:sldLayoutId id="2147483675" r:id="rId15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" r="-1" b="-44689"/>
          <a:stretch/>
        </p:blipFill>
        <p:spPr bwMode="auto">
          <a:xfrm>
            <a:off x="-1" y="6202575"/>
            <a:ext cx="11856377" cy="589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433" y="241082"/>
            <a:ext cx="11522208" cy="67008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433" y="1268412"/>
            <a:ext cx="11522208" cy="4644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75819" y="6689029"/>
            <a:ext cx="1520697" cy="172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l-NL" smtClean="0"/>
              <a:t>Sunday 19 november 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4433" y="6687696"/>
            <a:ext cx="4141386" cy="1741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4431" y="6508356"/>
            <a:ext cx="276467" cy="1793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10899" y="6508357"/>
            <a:ext cx="8399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noProof="0" dirty="0" smtClean="0">
                <a:solidFill>
                  <a:schemeClr val="tx1"/>
                </a:solidFill>
              </a:rPr>
              <a:t>DNV GL © </a:t>
            </a:r>
            <a:r>
              <a:rPr lang="en-GB" sz="800" noProof="0" dirty="0" smtClean="0">
                <a:solidFill>
                  <a:schemeClr val="tx1"/>
                </a:solidFill>
              </a:rPr>
              <a:t>2014</a:t>
            </a:r>
            <a:endParaRPr lang="en-GB" sz="800" noProof="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" y="951174"/>
            <a:ext cx="11856641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mkConfidentiality2"/>
          <p:cNvSpPr/>
          <p:nvPr userDrawn="1"/>
        </p:nvSpPr>
        <p:spPr>
          <a:xfrm>
            <a:off x="334433" y="6022832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bmkDraft2"/>
          <p:cNvSpPr txBox="1">
            <a:spLocks noChangeArrowheads="1"/>
          </p:cNvSpPr>
          <p:nvPr userDrawn="1"/>
        </p:nvSpPr>
        <p:spPr bwMode="auto">
          <a:xfrm>
            <a:off x="5340350" y="5927025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0019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notesSlide" Target="../notesSlides/notesSlide6.xml"/><Relationship Id="rId26" Type="http://schemas.openxmlformats.org/officeDocument/2006/relationships/image" Target="../media/image32.png"/><Relationship Id="rId3" Type="http://schemas.openxmlformats.org/officeDocument/2006/relationships/tags" Target="../tags/tag4.xml"/><Relationship Id="rId21" Type="http://schemas.openxmlformats.org/officeDocument/2006/relationships/image" Target="../media/image27.png"/><Relationship Id="rId34" Type="http://schemas.openxmlformats.org/officeDocument/2006/relationships/image" Target="../media/image40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31.png"/><Relationship Id="rId33" Type="http://schemas.openxmlformats.org/officeDocument/2006/relationships/image" Target="../media/image39.png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image" Target="../media/image26.jpeg"/><Relationship Id="rId29" Type="http://schemas.openxmlformats.org/officeDocument/2006/relationships/image" Target="../media/image35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image" Target="../media/image30.png"/><Relationship Id="rId32" Type="http://schemas.openxmlformats.org/officeDocument/2006/relationships/image" Target="../media/image38.png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image" Target="../media/image29.jpeg"/><Relationship Id="rId28" Type="http://schemas.openxmlformats.org/officeDocument/2006/relationships/image" Target="../media/image34.png"/><Relationship Id="rId10" Type="http://schemas.openxmlformats.org/officeDocument/2006/relationships/tags" Target="../tags/tag11.xml"/><Relationship Id="rId19" Type="http://schemas.openxmlformats.org/officeDocument/2006/relationships/image" Target="../media/image25.png"/><Relationship Id="rId31" Type="http://schemas.openxmlformats.org/officeDocument/2006/relationships/image" Target="../media/image37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image" Target="../media/image28.png"/><Relationship Id="rId27" Type="http://schemas.openxmlformats.org/officeDocument/2006/relationships/image" Target="../media/image33.png"/><Relationship Id="rId30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s://userportal.pmcity.nl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344301" cy="618040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" y="4496159"/>
            <a:ext cx="5080000" cy="581464"/>
          </a:xfrm>
          <a:prstGeom prst="rect">
            <a:avLst/>
          </a:prstGeom>
          <a:solidFill>
            <a:srgbClr val="999999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l-NL"/>
          </a:p>
        </p:txBody>
      </p:sp>
      <p:sp>
        <p:nvSpPr>
          <p:cNvPr id="18" name="Rectangle 17"/>
          <p:cNvSpPr/>
          <p:nvPr/>
        </p:nvSpPr>
        <p:spPr>
          <a:xfrm>
            <a:off x="2" y="5128064"/>
            <a:ext cx="5079999" cy="296560"/>
          </a:xfrm>
          <a:prstGeom prst="rect">
            <a:avLst/>
          </a:prstGeom>
          <a:solidFill>
            <a:srgbClr val="999999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l-NL"/>
          </a:p>
        </p:txBody>
      </p:sp>
      <p:sp>
        <p:nvSpPr>
          <p:cNvPr id="11" name="Ondertitel 10"/>
          <p:cNvSpPr>
            <a:spLocks noGrp="1"/>
          </p:cNvSpPr>
          <p:nvPr>
            <p:ph type="subTitle" idx="1"/>
          </p:nvPr>
        </p:nvSpPr>
        <p:spPr>
          <a:xfrm>
            <a:off x="9728" y="5091299"/>
            <a:ext cx="8727872" cy="28637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nl-NL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Groningen, The Netherlands</a:t>
            </a:r>
            <a:endParaRPr lang="nl-NL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itel 9"/>
          <p:cNvSpPr>
            <a:spLocks noGrp="1"/>
          </p:cNvSpPr>
          <p:nvPr>
            <p:ph type="ctrTitle"/>
          </p:nvPr>
        </p:nvSpPr>
        <p:spPr>
          <a:xfrm>
            <a:off x="5499" y="4140200"/>
            <a:ext cx="5471300" cy="946800"/>
          </a:xfrm>
          <a:effectLst/>
        </p:spPr>
        <p:txBody>
          <a:bodyPr/>
          <a:lstStyle/>
          <a:p>
            <a:r>
              <a:rPr lang="nl-NL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PowerMatching City</a:t>
            </a:r>
            <a:endParaRPr lang="nl-NL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25226" y1="72193" x2="3287" y2="90374"/>
                        <a14:foregroundMark x1="70008" y1="68984" x2="96138" y2="86364"/>
                        <a14:foregroundMark x1="62449" y1="74866" x2="29334" y2="82888"/>
                        <a14:backgroundMark x1="1233" y1="98128" x2="164" y2="94920"/>
                        <a14:backgroundMark x1="40756" y1="30481" x2="40756" y2="30481"/>
                        <a14:backgroundMark x1="329" y1="92513" x2="82" y2="74599"/>
                        <a14:backgroundMark x1="247" y1="72460" x2="164" y2="566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420" r="-1"/>
          <a:stretch/>
        </p:blipFill>
        <p:spPr bwMode="auto">
          <a:xfrm>
            <a:off x="7377624" y="366880"/>
            <a:ext cx="4966677" cy="1518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6233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6" descr="PowerMatching City - Multi Goal Optimization II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2750" y="1349964"/>
            <a:ext cx="6537972" cy="4488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6168008" y="5239544"/>
            <a:ext cx="1222077" cy="785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/>
            <a:endParaRPr lang="en-US"/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3251200" y="1397004"/>
            <a:ext cx="4979278" cy="932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100980" tIns="50489" rIns="100980" bIns="50489">
            <a:spAutoFit/>
          </a:bodyPr>
          <a:lstStyle>
            <a:lvl1pPr marL="182563" indent="-182563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nl-NL" sz="2700" dirty="0">
                <a:solidFill>
                  <a:srgbClr val="FF3300"/>
                </a:solidFill>
              </a:rPr>
              <a:t>1. </a:t>
            </a:r>
            <a:r>
              <a:rPr lang="nl-NL" sz="2700" dirty="0" err="1">
                <a:solidFill>
                  <a:srgbClr val="FF3300"/>
                </a:solidFill>
              </a:rPr>
              <a:t>EnergyManagement@Home</a:t>
            </a:r>
            <a:endParaRPr lang="nl-NL" sz="2700" dirty="0">
              <a:solidFill>
                <a:srgbClr val="FF3300"/>
              </a:solidFill>
            </a:endParaRPr>
          </a:p>
          <a:p>
            <a:r>
              <a:rPr lang="nl-NL" sz="2700" dirty="0"/>
              <a:t>	  </a:t>
            </a:r>
            <a:r>
              <a:rPr lang="nl-NL" sz="2300" i="1" dirty="0"/>
              <a:t>(In home </a:t>
            </a:r>
            <a:r>
              <a:rPr lang="nl-NL" sz="2300" i="1" dirty="0" err="1"/>
              <a:t>optimization</a:t>
            </a:r>
            <a:r>
              <a:rPr lang="nl-NL" sz="2300" i="1" dirty="0"/>
              <a:t>)</a:t>
            </a:r>
            <a:endParaRPr lang="en-US" sz="2300" i="1" dirty="0"/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6600254" y="4905082"/>
            <a:ext cx="3181029" cy="932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100980" tIns="50489" rIns="100980" bIns="50489">
            <a:spAutoFit/>
          </a:bodyPr>
          <a:lstStyle>
            <a:lvl1pPr marL="182563" indent="-182563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nl-NL" sz="2700" dirty="0">
                <a:solidFill>
                  <a:srgbClr val="FF3300"/>
                </a:solidFill>
              </a:rPr>
              <a:t>2. </a:t>
            </a:r>
            <a:r>
              <a:rPr lang="nl-NL" sz="2700" dirty="0" err="1">
                <a:solidFill>
                  <a:srgbClr val="FF3300"/>
                </a:solidFill>
              </a:rPr>
              <a:t>Grid@Work</a:t>
            </a:r>
            <a:endParaRPr lang="nl-NL" sz="2700" dirty="0">
              <a:solidFill>
                <a:srgbClr val="FF3300"/>
              </a:solidFill>
            </a:endParaRPr>
          </a:p>
          <a:p>
            <a:r>
              <a:rPr lang="nl-NL" sz="2700" dirty="0"/>
              <a:t>	  </a:t>
            </a:r>
            <a:r>
              <a:rPr lang="nl-NL" sz="2300" i="1" dirty="0"/>
              <a:t>(</a:t>
            </a:r>
            <a:r>
              <a:rPr lang="nl-NL" sz="2300" i="1" dirty="0" err="1"/>
              <a:t>reduce</a:t>
            </a:r>
            <a:r>
              <a:rPr lang="nl-NL" sz="2300" i="1" dirty="0"/>
              <a:t> peak loads)</a:t>
            </a:r>
            <a:endParaRPr lang="en-US" sz="2300" i="1" dirty="0"/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91344" y="5247953"/>
            <a:ext cx="3276697" cy="932961"/>
          </a:xfrm>
          <a:prstGeom prst="rect">
            <a:avLst/>
          </a:pr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100980" tIns="50489" rIns="100980" bIns="50489">
            <a:spAutoFit/>
          </a:bodyPr>
          <a:lstStyle>
            <a:lvl1pPr marL="182563" indent="-182563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nl-NL" sz="2700" dirty="0">
                <a:solidFill>
                  <a:srgbClr val="FF3300"/>
                </a:solidFill>
              </a:rPr>
              <a:t>3. Energy4sale</a:t>
            </a:r>
          </a:p>
          <a:p>
            <a:r>
              <a:rPr lang="nl-NL" sz="2700" dirty="0"/>
              <a:t>	  </a:t>
            </a:r>
            <a:r>
              <a:rPr lang="nl-NL" sz="2300" i="1" dirty="0"/>
              <a:t>(Virtual Power Plant)</a:t>
            </a:r>
            <a:endParaRPr lang="en-US" sz="2300" i="1" dirty="0"/>
          </a:p>
        </p:txBody>
      </p:sp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4775208" y="2717804"/>
            <a:ext cx="5723648" cy="932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100980" tIns="50489" rIns="100980" bIns="50489">
            <a:spAutoFit/>
          </a:bodyPr>
          <a:lstStyle>
            <a:lvl1pPr marL="182563" indent="-182563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nl-NL" sz="2700" dirty="0">
                <a:solidFill>
                  <a:srgbClr val="FF3300"/>
                </a:solidFill>
              </a:rPr>
              <a:t>4. Power4Climate</a:t>
            </a:r>
          </a:p>
          <a:p>
            <a:r>
              <a:rPr lang="nl-NL" sz="2700" dirty="0"/>
              <a:t>	  </a:t>
            </a:r>
            <a:r>
              <a:rPr lang="nl-NL" sz="2300" i="1" dirty="0"/>
              <a:t>(</a:t>
            </a:r>
            <a:r>
              <a:rPr lang="nl-NL" sz="2300" i="1" dirty="0" err="1"/>
              <a:t>Valorisation</a:t>
            </a:r>
            <a:r>
              <a:rPr lang="nl-NL" sz="2300" i="1" dirty="0"/>
              <a:t> </a:t>
            </a:r>
            <a:r>
              <a:rPr lang="nl-NL" sz="2300" i="1" dirty="0" err="1"/>
              <a:t>and</a:t>
            </a:r>
            <a:r>
              <a:rPr lang="nl-NL" sz="2300" i="1" dirty="0"/>
              <a:t> </a:t>
            </a:r>
            <a:r>
              <a:rPr lang="nl-NL" sz="2300" i="1" dirty="0" err="1"/>
              <a:t>Imbalance</a:t>
            </a:r>
            <a:r>
              <a:rPr lang="nl-NL" sz="2300" i="1" dirty="0"/>
              <a:t> </a:t>
            </a:r>
            <a:r>
              <a:rPr lang="nl-NL" sz="2300" i="1" dirty="0" err="1"/>
              <a:t>Reduction</a:t>
            </a:r>
            <a:r>
              <a:rPr lang="nl-NL" sz="2300" i="1" dirty="0"/>
              <a:t>)</a:t>
            </a:r>
            <a:endParaRPr lang="en-US" sz="2300" i="1" dirty="0"/>
          </a:p>
        </p:txBody>
      </p:sp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3320687" y="1532625"/>
            <a:ext cx="3279567" cy="635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100980" tIns="50489" rIns="100980" bIns="50489">
            <a:spAutoFit/>
          </a:bodyPr>
          <a:lstStyle>
            <a:lvl1pPr marL="182563" indent="-182563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nl-NL" sz="1700" dirty="0"/>
              <a:t>1. </a:t>
            </a:r>
            <a:r>
              <a:rPr lang="nl-NL" sz="1700" dirty="0" err="1"/>
              <a:t>EnergyManagement@Home</a:t>
            </a:r>
            <a:endParaRPr lang="nl-NL" sz="1700" dirty="0"/>
          </a:p>
          <a:p>
            <a:r>
              <a:rPr lang="nl-NL" sz="1700" dirty="0"/>
              <a:t>	  </a:t>
            </a:r>
            <a:r>
              <a:rPr lang="nl-NL" sz="1600" i="1" dirty="0"/>
              <a:t>(In home </a:t>
            </a:r>
            <a:r>
              <a:rPr lang="nl-NL" sz="1600" i="1" dirty="0" err="1"/>
              <a:t>optimization</a:t>
            </a:r>
            <a:r>
              <a:rPr lang="nl-NL" sz="1600" i="1" dirty="0"/>
              <a:t>)</a:t>
            </a:r>
            <a:endParaRPr lang="en-US" sz="1600" i="1" dirty="0"/>
          </a:p>
        </p:txBody>
      </p:sp>
      <p:sp>
        <p:nvSpPr>
          <p:cNvPr id="11" name="Text Box 12"/>
          <p:cNvSpPr txBox="1">
            <a:spLocks noChangeArrowheads="1"/>
          </p:cNvSpPr>
          <p:nvPr/>
        </p:nvSpPr>
        <p:spPr bwMode="auto">
          <a:xfrm>
            <a:off x="6446944" y="5314560"/>
            <a:ext cx="2380175" cy="635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100980" tIns="50489" rIns="100980" bIns="50489">
            <a:spAutoFit/>
          </a:bodyPr>
          <a:lstStyle>
            <a:lvl1pPr marL="182563" indent="-182563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nl-NL" sz="1700" dirty="0"/>
              <a:t>2. </a:t>
            </a:r>
            <a:r>
              <a:rPr lang="nl-NL" sz="1700" dirty="0" err="1"/>
              <a:t>Grid@Work</a:t>
            </a:r>
            <a:endParaRPr lang="nl-NL" sz="1700" dirty="0"/>
          </a:p>
          <a:p>
            <a:r>
              <a:rPr lang="nl-NL" sz="1700" dirty="0"/>
              <a:t>	  </a:t>
            </a:r>
            <a:r>
              <a:rPr lang="nl-NL" sz="1600" i="1" dirty="0"/>
              <a:t>(</a:t>
            </a:r>
            <a:r>
              <a:rPr lang="nl-NL" sz="1600" i="1" dirty="0" err="1"/>
              <a:t>reduce</a:t>
            </a:r>
            <a:r>
              <a:rPr lang="nl-NL" sz="1600" i="1" dirty="0"/>
              <a:t> peak loads)</a:t>
            </a:r>
            <a:endParaRPr lang="en-US" sz="1600" i="1" dirty="0"/>
          </a:p>
        </p:txBody>
      </p:sp>
      <p:sp>
        <p:nvSpPr>
          <p:cNvPr id="12" name="Text Box 13"/>
          <p:cNvSpPr txBox="1">
            <a:spLocks noChangeArrowheads="1"/>
          </p:cNvSpPr>
          <p:nvPr/>
        </p:nvSpPr>
        <p:spPr bwMode="auto">
          <a:xfrm>
            <a:off x="191344" y="5387181"/>
            <a:ext cx="2447031" cy="635447"/>
          </a:xfrm>
          <a:prstGeom prst="rect">
            <a:avLst/>
          </a:prstGeom>
          <a:solidFill>
            <a:schemeClr val="bg1">
              <a:alpha val="4901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100980" tIns="50489" rIns="100980" bIns="50489">
            <a:spAutoFit/>
          </a:bodyPr>
          <a:lstStyle>
            <a:lvl1pPr marL="182563" indent="-182563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nl-NL" sz="1700" dirty="0"/>
              <a:t>3. Energy4sale</a:t>
            </a:r>
          </a:p>
          <a:p>
            <a:r>
              <a:rPr lang="nl-NL" sz="1700" dirty="0"/>
              <a:t>	  </a:t>
            </a:r>
            <a:r>
              <a:rPr lang="nl-NL" sz="1600" i="1" dirty="0"/>
              <a:t>(Virtual Power Plant)</a:t>
            </a:r>
            <a:endParaRPr lang="en-US" sz="1600" i="1" dirty="0"/>
          </a:p>
        </p:txBody>
      </p:sp>
      <p:sp>
        <p:nvSpPr>
          <p:cNvPr id="13" name="Text Box 14"/>
          <p:cNvSpPr txBox="1">
            <a:spLocks noChangeArrowheads="1"/>
          </p:cNvSpPr>
          <p:nvPr/>
        </p:nvSpPr>
        <p:spPr bwMode="auto">
          <a:xfrm>
            <a:off x="4788883" y="2804891"/>
            <a:ext cx="4144419" cy="635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100980" tIns="50489" rIns="100980" bIns="50489">
            <a:spAutoFit/>
          </a:bodyPr>
          <a:lstStyle>
            <a:lvl1pPr marL="182563" indent="-182563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2563" algn="l"/>
              </a:tabLst>
              <a:defRPr sz="4800">
                <a:solidFill>
                  <a:srgbClr val="0A3B6C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nl-NL" sz="1700" dirty="0"/>
              <a:t>4. Power4Climate</a:t>
            </a:r>
          </a:p>
          <a:p>
            <a:r>
              <a:rPr lang="nl-NL" sz="1700" dirty="0"/>
              <a:t>	  </a:t>
            </a:r>
            <a:r>
              <a:rPr lang="nl-NL" sz="1600" i="1" dirty="0"/>
              <a:t>(</a:t>
            </a:r>
            <a:r>
              <a:rPr lang="nl-NL" sz="1600" i="1" dirty="0" err="1"/>
              <a:t>Valorisation</a:t>
            </a:r>
            <a:r>
              <a:rPr lang="nl-NL" sz="1600" i="1" dirty="0"/>
              <a:t> </a:t>
            </a:r>
            <a:r>
              <a:rPr lang="nl-NL" sz="1600" i="1" dirty="0" err="1"/>
              <a:t>and</a:t>
            </a:r>
            <a:r>
              <a:rPr lang="nl-NL" sz="1600" i="1" dirty="0"/>
              <a:t> </a:t>
            </a:r>
            <a:r>
              <a:rPr lang="nl-NL" sz="1600" i="1" dirty="0" err="1"/>
              <a:t>Imbalance</a:t>
            </a:r>
            <a:r>
              <a:rPr lang="nl-NL" sz="1600" i="1" dirty="0"/>
              <a:t> </a:t>
            </a:r>
            <a:r>
              <a:rPr lang="nl-NL" sz="1600" i="1" dirty="0" err="1"/>
              <a:t>Reduction</a:t>
            </a:r>
            <a:r>
              <a:rPr lang="nl-NL" sz="1600" i="1" dirty="0"/>
              <a:t>)</a:t>
            </a:r>
            <a:endParaRPr lang="en-US" sz="1600" i="1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Balancing</a:t>
            </a:r>
            <a:r>
              <a:rPr lang="nl-NL" dirty="0" smtClean="0"/>
              <a:t> </a:t>
            </a:r>
            <a:r>
              <a:rPr lang="nl-NL" dirty="0" err="1" smtClean="0"/>
              <a:t>all</a:t>
            </a:r>
            <a:r>
              <a:rPr lang="nl-NL" dirty="0" smtClean="0"/>
              <a:t> stakeholders’ </a:t>
            </a:r>
            <a:r>
              <a:rPr lang="nl-NL" dirty="0" err="1" smtClean="0"/>
              <a:t>needs</a:t>
            </a:r>
            <a:endParaRPr lang="nl-NL" dirty="0"/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 err="1" smtClean="0"/>
              <a:t>Sunday</a:t>
            </a:r>
            <a:r>
              <a:rPr lang="nl-NL" dirty="0" smtClean="0"/>
              <a:t> 19 november 2014</a:t>
            </a:r>
            <a:endParaRPr lang="en-GB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2380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/>
      <p:bldP spid="7" grpId="1"/>
      <p:bldP spid="8" grpId="0" animBg="1"/>
      <p:bldP spid="8" grpId="1" animBg="1"/>
      <p:bldP spid="9" grpId="0"/>
      <p:bldP spid="9" grpId="1"/>
      <p:bldP spid="9" grpId="2"/>
      <p:bldP spid="10" grpId="0"/>
      <p:bldP spid="11" grpId="0"/>
      <p:bldP spid="12" grpId="0" animBg="1"/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can a smarter grid be realised in practise? 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Goal of </a:t>
            </a:r>
            <a:r>
              <a:rPr lang="en-US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owerMatching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 City 2 is to investigate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added value of smart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for:</a:t>
            </a:r>
          </a:p>
          <a:p>
            <a:pPr lvl="1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etwork operator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: capacity management</a:t>
            </a:r>
          </a:p>
          <a:p>
            <a:pPr lvl="1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End user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: engagement and empowerment</a:t>
            </a:r>
          </a:p>
          <a:p>
            <a:pPr lvl="1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Energy supplier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: new energy services &amp;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processe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y:</a:t>
            </a:r>
          </a:p>
          <a:p>
            <a:pPr lvl="1"/>
            <a:r>
              <a:rPr lang="en-GB" dirty="0" smtClean="0">
                <a:latin typeface="Calibri" panose="020F0502020204030204" pitchFamily="34" charset="0"/>
                <a:cs typeface="Calibri" panose="020F0502020204030204" pitchFamily="34" charset="0"/>
              </a:rPr>
              <a:t>Real-time 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balancing of supply and demand</a:t>
            </a:r>
          </a:p>
          <a:p>
            <a:pPr lvl="1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New energy services &amp; market </a:t>
            </a:r>
            <a:r>
              <a:rPr lang="en-GB" dirty="0" smtClean="0">
                <a:latin typeface="Calibri" panose="020F0502020204030204" pitchFamily="34" charset="0"/>
                <a:cs typeface="Calibri" panose="020F0502020204030204" pitchFamily="34" charset="0"/>
              </a:rPr>
              <a:t>models</a:t>
            </a:r>
          </a:p>
          <a:p>
            <a:pPr lvl="1"/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Local sustainable energy </a:t>
            </a:r>
            <a:r>
              <a:rPr lang="en-GB" dirty="0" smtClean="0">
                <a:latin typeface="Calibri" panose="020F0502020204030204" pitchFamily="34" charset="0"/>
                <a:cs typeface="Calibri" panose="020F0502020204030204" pitchFamily="34" charset="0"/>
              </a:rPr>
              <a:t>production</a:t>
            </a:r>
          </a:p>
          <a:p>
            <a:pPr lvl="1"/>
            <a:r>
              <a:rPr lang="en-GB" dirty="0" smtClean="0">
                <a:latin typeface="Calibri" panose="020F0502020204030204" pitchFamily="34" charset="0"/>
                <a:cs typeface="Calibri" panose="020F0502020204030204" pitchFamily="34" charset="0"/>
              </a:rPr>
              <a:t>Validating cost benefit models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dirty="0" smtClean="0"/>
          </a:p>
          <a:p>
            <a:pPr lvl="1"/>
            <a:endParaRPr lang="en-GB" dirty="0" smtClean="0"/>
          </a:p>
          <a:p>
            <a:endParaRPr lang="en-GB" dirty="0"/>
          </a:p>
        </p:txBody>
      </p:sp>
      <p:pic>
        <p:nvPicPr>
          <p:cNvPr id="8" name="Picture 2" descr="\\arn-srv-fil-002.kema.intra\gcs\Projects\74100304 PowerMatchingCity - Fase 2\BeeldMateriaal\Photo's\Beeldbank PMC\Awards\Proudly part of Sustainia100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7776" y="1370801"/>
            <a:ext cx="2100983" cy="131268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9907" y="3999369"/>
            <a:ext cx="1832444" cy="1424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7776" y="3096117"/>
            <a:ext cx="2111895" cy="836939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1" y="5424094"/>
            <a:ext cx="11856640" cy="50405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3000"/>
              </a:lnSpc>
              <a:spcBef>
                <a:spcPts val="600"/>
              </a:spcBef>
            </a:pPr>
            <a:r>
              <a:rPr lang="en-GB" sz="1600" b="1" dirty="0" err="1" smtClean="0"/>
              <a:t>PowerMatching</a:t>
            </a:r>
            <a:r>
              <a:rPr lang="en-GB" sz="1600" b="1" dirty="0" smtClean="0"/>
              <a:t> City demonstrates a smart solution to the energy transition’s challenges.</a:t>
            </a:r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3259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Title 1"/>
          <p:cNvSpPr>
            <a:spLocks noGrp="1"/>
          </p:cNvSpPr>
          <p:nvPr>
            <p:ph type="title"/>
          </p:nvPr>
        </p:nvSpPr>
        <p:spPr>
          <a:xfrm>
            <a:off x="203200" y="-127000"/>
            <a:ext cx="11784013" cy="752475"/>
          </a:xfrm>
        </p:spPr>
        <p:txBody>
          <a:bodyPr/>
          <a:lstStyle/>
          <a:p>
            <a:r>
              <a:rPr lang="en-GB" dirty="0" smtClean="0"/>
              <a:t>A total smart energy solution</a:t>
            </a:r>
          </a:p>
        </p:txBody>
      </p:sp>
      <p:pic>
        <p:nvPicPr>
          <p:cNvPr id="4" name="Afbeelding 28" descr="centraal_lokaal_v2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4" y="656692"/>
            <a:ext cx="10745546" cy="6051832"/>
          </a:xfrm>
          <a:prstGeom prst="rect">
            <a:avLst/>
          </a:prstGeom>
        </p:spPr>
      </p:pic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8215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8" descr="C:\My Data\Presentaties\PowerMatching City\Opening Fase II\Beeldmateriaal\PowerMatching 0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400" y="1157288"/>
            <a:ext cx="7110413" cy="531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 descr="C:\My Data\Presentaties\PowerMatching City\Opening Fase II\Beeldmateriaal\PowerMatching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400" y="1157288"/>
            <a:ext cx="7110413" cy="531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 descr="C:\My Data\Presentaties\PowerMatching City\Opening Fase II\Beeldmateriaal\PowerMatching 2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400" y="1157288"/>
            <a:ext cx="7110413" cy="531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7" name="Picture 7" descr="C:\My Data\Presentaties\PowerMatching City\Opening Fase II\Beeldmateriaal\PowerMatching 3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400" y="1157288"/>
            <a:ext cx="7110413" cy="531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8" name="Picture 4" descr="C:\My Data\Presentaties\PowerMatching City\Opening Fase II\Beeldmateriaal\Vraag-Aanbod 0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1785938"/>
            <a:ext cx="3987800" cy="398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9" name="Title 1"/>
          <p:cNvSpPr>
            <a:spLocks noGrp="1"/>
          </p:cNvSpPr>
          <p:nvPr>
            <p:ph type="title"/>
          </p:nvPr>
        </p:nvSpPr>
        <p:spPr>
          <a:xfrm>
            <a:off x="201613" y="207963"/>
            <a:ext cx="11784012" cy="752475"/>
          </a:xfrm>
        </p:spPr>
        <p:txBody>
          <a:bodyPr/>
          <a:lstStyle/>
          <a:p>
            <a:r>
              <a:rPr lang="en-GB" dirty="0" smtClean="0"/>
              <a:t>What does the </a:t>
            </a:r>
            <a:r>
              <a:rPr lang="en-GB" dirty="0" err="1" smtClean="0"/>
              <a:t>PowerMatcher</a:t>
            </a:r>
            <a:r>
              <a:rPr lang="en-GB" dirty="0" smtClean="0"/>
              <a:t> do?</a:t>
            </a:r>
          </a:p>
        </p:txBody>
      </p:sp>
      <p:pic>
        <p:nvPicPr>
          <p:cNvPr id="5122" name="Picture 2" descr="C:\My Data\Presentaties\PowerMatching City\Opening Fase II\Beeldmateriaal\Vraag-Aanbod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1785938"/>
            <a:ext cx="3987800" cy="398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 descr="C:\My Data\Presentaties\PowerMatching City\Opening Fase II\Beeldmateriaal\Vraag-Aanbod II.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1795463"/>
            <a:ext cx="3987800" cy="398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992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0"/>
                                        <p:tgtEl>
                                          <p:spTgt spid="5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7"/>
          <p:cNvGrpSpPr/>
          <p:nvPr/>
        </p:nvGrpSpPr>
        <p:grpSpPr>
          <a:xfrm>
            <a:off x="668533" y="1569945"/>
            <a:ext cx="4524621" cy="2459039"/>
            <a:chOff x="323850" y="1499072"/>
            <a:chExt cx="3957638" cy="2459039"/>
          </a:xfrm>
        </p:grpSpPr>
        <p:pic>
          <p:nvPicPr>
            <p:cNvPr id="16" name="Picture 2" descr="http://bootytoberlin.files.wordpress.com/2011/02/grass.jpg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925" y="2523808"/>
              <a:ext cx="1423988" cy="1357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Afgeronde rechthoek 16"/>
            <p:cNvSpPr/>
            <p:nvPr>
              <p:custDataLst>
                <p:tags r:id="rId14"/>
              </p:custDataLst>
            </p:nvPr>
          </p:nvSpPr>
          <p:spPr>
            <a:xfrm>
              <a:off x="323850" y="1499072"/>
              <a:ext cx="3957638" cy="2459039"/>
            </a:xfrm>
            <a:prstGeom prst="roundRect">
              <a:avLst>
                <a:gd name="adj" fmla="val 8575"/>
              </a:avLst>
            </a:prstGeom>
            <a:noFill/>
            <a:ln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/>
            </a:p>
          </p:txBody>
        </p:sp>
        <p:pic>
          <p:nvPicPr>
            <p:cNvPr id="18" name="Afbeelding 8" descr="Pr 1 - Gelijke energie4.jpg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7300" y="1571349"/>
              <a:ext cx="2954338" cy="1738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Tijdelijke aanduiding voor inhoud 3" descr="Pr 1 - personen1.jpg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1718987"/>
              <a:ext cx="1603375" cy="2162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217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Energy services</a:t>
            </a:r>
          </a:p>
        </p:txBody>
      </p:sp>
      <p:pic>
        <p:nvPicPr>
          <p:cNvPr id="10" name="Afbeelding 9" descr="header.png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6861" y="152636"/>
            <a:ext cx="3335139" cy="590090"/>
          </a:xfrm>
          <a:prstGeom prst="rect">
            <a:avLst/>
          </a:prstGeom>
        </p:spPr>
      </p:pic>
      <p:sp>
        <p:nvSpPr>
          <p:cNvPr id="20" name="Rectang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336000" y="1209945"/>
            <a:ext cx="5281083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7600" tIns="0" rIns="5760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gether pleasantly sustainable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43" name="Groeperen 42"/>
          <p:cNvGrpSpPr/>
          <p:nvPr/>
        </p:nvGrpSpPr>
        <p:grpSpPr>
          <a:xfrm>
            <a:off x="6457003" y="1551777"/>
            <a:ext cx="4441216" cy="2354030"/>
            <a:chOff x="4573290" y="2251985"/>
            <a:chExt cx="3656310" cy="2354030"/>
          </a:xfrm>
        </p:grpSpPr>
        <p:pic>
          <p:nvPicPr>
            <p:cNvPr id="22" name="Picture 5" descr="http://www.tradingdvdshop.com/images/John%20Summa%20Options%20Pro.jpg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 rotWithShape="1">
            <a:blip r:embed="rId23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912311" y="2730609"/>
              <a:ext cx="1108779" cy="1231791"/>
            </a:xfrm>
            <a:prstGeom prst="rect">
              <a:avLst/>
            </a:prstGeom>
            <a:noFill/>
            <a:extLst/>
          </p:spPr>
        </p:pic>
        <p:grpSp>
          <p:nvGrpSpPr>
            <p:cNvPr id="24" name="Group 6"/>
            <p:cNvGrpSpPr/>
            <p:nvPr/>
          </p:nvGrpSpPr>
          <p:grpSpPr>
            <a:xfrm>
              <a:off x="4573290" y="2251985"/>
              <a:ext cx="3656310" cy="2354030"/>
              <a:chOff x="5024440" y="1744896"/>
              <a:chExt cx="3656310" cy="2354030"/>
            </a:xfrm>
          </p:grpSpPr>
          <p:grpSp>
            <p:nvGrpSpPr>
              <p:cNvPr id="25" name="Groep 10"/>
              <p:cNvGrpSpPr>
                <a:grpSpLocks/>
              </p:cNvGrpSpPr>
              <p:nvPr>
                <p:custDataLst>
                  <p:tags r:id="rId4"/>
                </p:custDataLst>
              </p:nvPr>
            </p:nvGrpSpPr>
            <p:grpSpPr bwMode="auto">
              <a:xfrm>
                <a:off x="6905625" y="2236789"/>
                <a:ext cx="1354138" cy="1362075"/>
                <a:chOff x="2436168" y="2954564"/>
                <a:chExt cx="1847800" cy="1858109"/>
              </a:xfrm>
            </p:grpSpPr>
            <p:pic>
              <p:nvPicPr>
                <p:cNvPr id="34" name="Tijdelijke aanduiding voor inhoud 3" descr="Allocatie3.jpg"/>
                <p:cNvPicPr>
                  <a:picLocks noChangeAspect="1"/>
                </p:cNvPicPr>
                <p:nvPr/>
              </p:nvPicPr>
              <p:blipFill>
                <a:blip r:embed="rId2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36168" y="2954564"/>
                  <a:ext cx="1847800" cy="185810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35" name="Picture 2" descr="http://learngoldcoins.com/wp-content/uploads/2011/07/learn-about-stock-market.jpg"/>
                <p:cNvPicPr>
                  <a:picLocks noChangeAspect="1" noChangeArrowheads="1"/>
                </p:cNvPicPr>
                <p:nvPr/>
              </p:nvPicPr>
              <p:blipFill>
                <a:blip r:embed="rId2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71801" y="3429000"/>
                  <a:ext cx="1013916" cy="101391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36" name="Tijdelijke aanduiding voor inhoud 3" descr="Allocatie3.jpg"/>
                <p:cNvPicPr>
                  <a:picLocks noChangeAspect="1"/>
                </p:cNvPicPr>
                <p:nvPr/>
              </p:nvPicPr>
              <p:blipFill>
                <a:blip r:embed="rId2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36168" y="2954564"/>
                  <a:ext cx="1847800" cy="185810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26" name="Tijdelijke aanduiding voor inhoud 5" descr="scenario 1.jpg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2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24440" y="2646363"/>
                <a:ext cx="1584325" cy="14525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7" name="Tijdelijke aanduiding voor inhoud 5" descr="scenario 1.jpg"/>
              <p:cNvPicPr>
                <a:picLocks noChangeAspect="1"/>
              </p:cNvPicPr>
              <p:nvPr>
                <p:custDataLst>
                  <p:tags r:id="rId6"/>
                </p:custDataLst>
              </p:nvPr>
            </p:nvPicPr>
            <p:blipFill>
              <a:blip r:embed="rId28" cstate="screen"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66065" y="3371851"/>
                <a:ext cx="706437" cy="6477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8" name="Picture 3"/>
              <p:cNvPicPr>
                <a:picLocks noChangeAspect="1" noChangeArrowheads="1"/>
              </p:cNvPicPr>
              <p:nvPr>
                <p:custDataLst>
                  <p:tags r:id="rId7"/>
                </p:custDataLst>
              </p:nvPr>
            </p:nvPicPr>
            <p:blipFill rotWithShape="1">
              <a:blip r:embed="rId29" cstate="screen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127127" y="2128873"/>
                <a:ext cx="456450" cy="454939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</p:pic>
          <p:pic>
            <p:nvPicPr>
              <p:cNvPr id="29" name="Picture 3"/>
              <p:cNvPicPr>
                <a:picLocks noChangeAspect="1" noChangeArrowheads="1"/>
              </p:cNvPicPr>
              <p:nvPr>
                <p:custDataLst>
                  <p:tags r:id="rId8"/>
                </p:custDataLst>
              </p:nvPr>
            </p:nvPicPr>
            <p:blipFill rotWithShape="1">
              <a:blip r:embed="rId30" cstate="screen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176546" y="2808978"/>
                <a:ext cx="504204" cy="513119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</p:pic>
          <p:pic>
            <p:nvPicPr>
              <p:cNvPr id="30" name="Picture 3"/>
              <p:cNvPicPr>
                <a:picLocks noChangeAspect="1" noChangeArrowheads="1"/>
              </p:cNvPicPr>
              <p:nvPr>
                <p:custDataLst>
                  <p:tags r:id="rId9"/>
                </p:custDataLst>
              </p:nvPr>
            </p:nvPicPr>
            <p:blipFill rotWithShape="1">
              <a:blip r:embed="rId31" cstate="screen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591033" y="2098958"/>
                <a:ext cx="366519" cy="440359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</p:pic>
          <p:pic>
            <p:nvPicPr>
              <p:cNvPr id="31" name="Picture 3"/>
              <p:cNvPicPr>
                <a:picLocks noChangeAspect="1" noChangeArrowheads="1"/>
              </p:cNvPicPr>
              <p:nvPr>
                <p:custDataLst>
                  <p:tags r:id="rId10"/>
                </p:custDataLst>
              </p:nvPr>
            </p:nvPicPr>
            <p:blipFill rotWithShape="1">
              <a:blip r:embed="rId32" cstate="screen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368736" y="1744896"/>
                <a:ext cx="429526" cy="492599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</p:pic>
          <p:pic>
            <p:nvPicPr>
              <p:cNvPr id="32" name="Picture 9" descr="http://thinkmonumental.com/clients/energysquad/sites/default/files/images/storage_homepage_icon.png"/>
              <p:cNvPicPr>
                <a:picLocks noChangeAspect="1" noChangeArrowheads="1"/>
              </p:cNvPicPr>
              <p:nvPr>
                <p:custDataLst>
                  <p:tags r:id="rId11"/>
                </p:custDataLst>
              </p:nvPr>
            </p:nvPicPr>
            <p:blipFill rotWithShape="1">
              <a:blip r:embed="rId33" cstate="screen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20315678">
                <a:off x="7125803" y="3656394"/>
                <a:ext cx="484805" cy="258436"/>
              </a:xfrm>
              <a:prstGeom prst="rect">
                <a:avLst/>
              </a:prstGeom>
              <a:noFill/>
              <a:extLst/>
            </p:spPr>
          </p:pic>
          <p:pic>
            <p:nvPicPr>
              <p:cNvPr id="33" name="Afbeelding 32"/>
              <p:cNvPicPr>
                <a:picLocks noChangeAspect="1"/>
              </p:cNvPicPr>
              <p:nvPr>
                <p:custDataLst>
                  <p:tags r:id="rId12"/>
                </p:custDataLst>
              </p:nvPr>
            </p:nvPicPr>
            <p:blipFill>
              <a:blip r:embed="rId34" cstate="screen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66418" y="2680179"/>
                <a:ext cx="581638" cy="610099"/>
              </a:xfrm>
              <a:prstGeom prst="rect">
                <a:avLst/>
              </a:prstGeom>
            </p:spPr>
          </p:pic>
        </p:grpSp>
      </p:grpSp>
      <p:sp>
        <p:nvSpPr>
          <p:cNvPr id="37" name="Rectangle 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42530" y="1209945"/>
            <a:ext cx="5276849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en-GB" sz="1400" b="1" dirty="0" smtClean="0">
                <a:solidFill>
                  <a:schemeClr val="tx2"/>
                </a:solidFill>
                <a:latin typeface="+mn-lt"/>
              </a:rPr>
              <a:t>Smart cost savings</a:t>
            </a:r>
            <a:endParaRPr lang="en-GB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1" name="Espace réservé du contenu 12"/>
          <p:cNvSpPr txBox="1">
            <a:spLocks/>
          </p:cNvSpPr>
          <p:nvPr/>
        </p:nvSpPr>
        <p:spPr bwMode="auto">
          <a:xfrm>
            <a:off x="344930" y="4050791"/>
            <a:ext cx="5495188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200" tIns="0" rIns="61200" bIns="0" numCol="1" anchor="t" anchorCtr="0" compatLnSpc="1">
            <a:prstTxWarp prst="textNoShape">
              <a:avLst/>
            </a:prstTxWarp>
          </a:bodyPr>
          <a:lstStyle/>
          <a:p>
            <a:pPr marL="180000" lvl="0" indent="-180000">
              <a:lnSpc>
                <a:spcPct val="114000"/>
              </a:lnSpc>
              <a:spcBef>
                <a:spcPts val="600"/>
              </a:spcBef>
              <a:spcAft>
                <a:spcPct val="20000"/>
              </a:spcAft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Maximum use </a:t>
            </a:r>
            <a:r>
              <a:rPr lang="en-GB" sz="1400" dirty="0"/>
              <a:t>of generated energy in the community</a:t>
            </a:r>
            <a:endParaRPr lang="en-US" sz="1400" dirty="0"/>
          </a:p>
          <a:p>
            <a:pPr marL="180000" lvl="0" indent="-180000">
              <a:lnSpc>
                <a:spcPct val="114000"/>
              </a:lnSpc>
              <a:spcBef>
                <a:spcPts val="600"/>
              </a:spcBef>
              <a:spcAft>
                <a:spcPct val="20000"/>
              </a:spcAft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Drivers</a:t>
            </a:r>
            <a:r>
              <a:rPr lang="en-GB" sz="1400" dirty="0"/>
              <a:t>: sustainable, independent, and comfort</a:t>
            </a:r>
            <a:endParaRPr lang="fr-FR" sz="1400" dirty="0"/>
          </a:p>
        </p:txBody>
      </p:sp>
      <p:sp>
        <p:nvSpPr>
          <p:cNvPr id="42" name="Espace réservé du contenu 12"/>
          <p:cNvSpPr txBox="1">
            <a:spLocks/>
          </p:cNvSpPr>
          <p:nvPr/>
        </p:nvSpPr>
        <p:spPr bwMode="auto">
          <a:xfrm>
            <a:off x="6453033" y="4050791"/>
            <a:ext cx="5455841" cy="922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200" tIns="0" rIns="61200" bIns="0" numCol="1" anchor="t" anchorCtr="0" compatLnSpc="1">
            <a:prstTxWarp prst="textNoShape">
              <a:avLst/>
            </a:prstTxWarp>
          </a:bodyPr>
          <a:lstStyle/>
          <a:p>
            <a:pPr marL="180000" indent="-180000">
              <a:lnSpc>
                <a:spcPct val="114000"/>
              </a:lnSpc>
              <a:spcBef>
                <a:spcPts val="600"/>
              </a:spcBef>
              <a:spcAft>
                <a:spcPct val="20000"/>
              </a:spcAft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GB" sz="1400" dirty="0"/>
              <a:t>Always benefit from the lowest price offering</a:t>
            </a:r>
            <a:endParaRPr lang="en-US" sz="1400" dirty="0"/>
          </a:p>
          <a:p>
            <a:pPr marL="180000" indent="-180000">
              <a:lnSpc>
                <a:spcPct val="114000"/>
              </a:lnSpc>
              <a:spcBef>
                <a:spcPts val="600"/>
              </a:spcBef>
              <a:spcAft>
                <a:spcPct val="20000"/>
              </a:spcAft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Drivers</a:t>
            </a:r>
            <a:r>
              <a:rPr lang="en-GB" sz="1400" dirty="0"/>
              <a:t>: costs, and comfort</a:t>
            </a:r>
            <a:endParaRPr lang="fr-FR" sz="1400" dirty="0"/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9277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ported with an energy monitor</a:t>
            </a:r>
            <a:endParaRPr lang="en-US" dirty="0"/>
          </a:p>
        </p:txBody>
      </p:sp>
      <p:pic>
        <p:nvPicPr>
          <p:cNvPr id="5" name="Picture 2" descr="\\arn-srv-fil-002.kema.intra\gcs\Projects\74100304 PowerMatchingCity - Fase 2\BeeldMateriaal\Photo's\Beeldbank PMC\Energy Monitor\Duurzaam_home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898" y="1140315"/>
            <a:ext cx="6911205" cy="5169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6320" y="3284984"/>
            <a:ext cx="3624457" cy="2719110"/>
          </a:xfrm>
          <a:prstGeom prst="rect">
            <a:avLst/>
          </a:prstGeom>
          <a:ln>
            <a:noFill/>
          </a:ln>
          <a:effectLst/>
        </p:spPr>
      </p:pic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3134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bination of PV with hybrid </a:t>
            </a:r>
            <a:r>
              <a:rPr lang="en-US" dirty="0" err="1" smtClean="0"/>
              <a:t>heatpump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2" descr="J:\Focal Area Smart Grids\0. Algemene SG info\Beeldbank\PMC DNV 150 Contrast - HD\DNV 150 PMC_Contrast_HD-13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77937"/>
            <a:ext cx="4993579" cy="4993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2" descr="C:\code\r\14-04\1B_DAY2_03_13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9736" y="1825919"/>
            <a:ext cx="8486002" cy="4245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Sunday 19 november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5414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 for your atten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lbert van den Noor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Albert.vandenNoort@dnvgl.com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noProof="0" smtClean="0"/>
              <a:t>Sunday 19 november 2014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87682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07LaKPIE6JQ1g27Fov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bUUhOG.kWkIl8w4ogV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eTRDZoLkCdJbyVZkyV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UcQj37d0iPkTWejajb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RREPnlUSos1k6QmJE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6M_1KJeE.QNjO7kly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S_0HBe3EKMwgiI2KBu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PY78reckKW.b4puBJJ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P5qPoPC0i38WOronpw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xwyJ15902pUYFtYxhO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HQMgSBku1yAUPVxBB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vsMtxAsE.pMApD7FIF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2UvCXfZUiekvWrRXyU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.P21B.mk.PMO1b3ioW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_5VXQqk23Sfqw_EJ0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vLQQTNPUG_Y8ygjXB2wA"/>
</p:tagLst>
</file>

<file path=ppt/theme/theme1.xml><?xml version="1.0" encoding="utf-8"?>
<a:theme xmlns:a="http://schemas.openxmlformats.org/drawingml/2006/main" name="DNV PowerPoint Template">
  <a:themeElements>
    <a:clrScheme name="DNV powerpoint">
      <a:dk1>
        <a:srgbClr val="333333"/>
      </a:dk1>
      <a:lt1>
        <a:srgbClr val="FFFFFF"/>
      </a:lt1>
      <a:dk2>
        <a:srgbClr val="0F204B"/>
      </a:dk2>
      <a:lt2>
        <a:srgbClr val="C8C8C8"/>
      </a:lt2>
      <a:accent1>
        <a:srgbClr val="99D6F0"/>
      </a:accent1>
      <a:accent2>
        <a:srgbClr val="3F9C35"/>
      </a:accent2>
      <a:accent3>
        <a:srgbClr val="003591"/>
      </a:accent3>
      <a:accent4>
        <a:srgbClr val="009FDA"/>
      </a:accent4>
      <a:accent5>
        <a:srgbClr val="66C5E9"/>
      </a:accent5>
      <a:accent6>
        <a:srgbClr val="FECB00"/>
      </a:accent6>
      <a:hlink>
        <a:srgbClr val="003591"/>
      </a:hlink>
      <a:folHlink>
        <a:srgbClr val="6E5091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algn="ctr">
          <a:lnSpc>
            <a:spcPct val="113000"/>
          </a:lnSpc>
          <a:spcBef>
            <a:spcPts val="6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3000"/>
          </a:lnSpc>
          <a:spcBef>
            <a:spcPts val="600"/>
          </a:spcBef>
          <a:defRPr sz="1600" dirty="0" err="1" smtClean="0">
            <a:solidFill>
              <a:srgbClr val="333333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genda">
  <a:themeElements>
    <a:clrScheme name="DNV powerpoint">
      <a:dk1>
        <a:srgbClr val="333333"/>
      </a:dk1>
      <a:lt1>
        <a:srgbClr val="FFFFFF"/>
      </a:lt1>
      <a:dk2>
        <a:srgbClr val="0F204B"/>
      </a:dk2>
      <a:lt2>
        <a:srgbClr val="C8C8C8"/>
      </a:lt2>
      <a:accent1>
        <a:srgbClr val="99D6F0"/>
      </a:accent1>
      <a:accent2>
        <a:srgbClr val="3F9C35"/>
      </a:accent2>
      <a:accent3>
        <a:srgbClr val="003591"/>
      </a:accent3>
      <a:accent4>
        <a:srgbClr val="009FDA"/>
      </a:accent4>
      <a:accent5>
        <a:srgbClr val="66C5E9"/>
      </a:accent5>
      <a:accent6>
        <a:srgbClr val="FECB00"/>
      </a:accent6>
      <a:hlink>
        <a:srgbClr val="003591"/>
      </a:hlink>
      <a:folHlink>
        <a:srgbClr val="6E5091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algn="ctr">
          <a:lnSpc>
            <a:spcPct val="113000"/>
          </a:lnSpc>
          <a:spcBef>
            <a:spcPts val="6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3000"/>
          </a:lnSpc>
          <a:spcBef>
            <a:spcPts val="600"/>
          </a:spcBef>
          <a:defRPr sz="1600" dirty="0" err="1" smtClean="0">
            <a:solidFill>
              <a:srgbClr val="333333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6627C0F71D594F9537D0253E208AFE" ma:contentTypeVersion="0" ma:contentTypeDescription="Een nieuw document maken." ma:contentTypeScope="" ma:versionID="6430bd78fe846f960346046cd16ac66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2f0e0a565edc8de6eb8fabc5bc4e821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F703749-DB23-4C35-930F-B225B257719B}"/>
</file>

<file path=customXml/itemProps2.xml><?xml version="1.0" encoding="utf-8"?>
<ds:datastoreItem xmlns:ds="http://schemas.openxmlformats.org/officeDocument/2006/customXml" ds:itemID="{3C804648-8C87-4F94-938B-751B2DAE1B1D}"/>
</file>

<file path=customXml/itemProps3.xml><?xml version="1.0" encoding="utf-8"?>
<ds:datastoreItem xmlns:ds="http://schemas.openxmlformats.org/officeDocument/2006/customXml" ds:itemID="{BBCD56A6-2A28-43D2-87D9-84BA1961E7F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9</Words>
  <Application>Microsoft Office PowerPoint</Application>
  <PresentationFormat>Custom</PresentationFormat>
  <Paragraphs>77</Paragraphs>
  <Slides>9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DNV PowerPoint Template</vt:lpstr>
      <vt:lpstr>Agenda</vt:lpstr>
      <vt:lpstr>PowerMatching City</vt:lpstr>
      <vt:lpstr>Balancing all stakeholders’ needs</vt:lpstr>
      <vt:lpstr>How can a smarter grid be realised in practise? </vt:lpstr>
      <vt:lpstr>A total smart energy solution</vt:lpstr>
      <vt:lpstr>What does the PowerMatcher do?</vt:lpstr>
      <vt:lpstr>New Energy services</vt:lpstr>
      <vt:lpstr>Supported with an energy monitor</vt:lpstr>
      <vt:lpstr>Combination of PV with hybrid heatpumps</vt:lpstr>
      <vt:lpstr>Thank you for your atten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0-29T14:33:42Z</dcterms:created>
  <dcterms:modified xsi:type="dcterms:W3CDTF">2014-11-12T14:0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urrentSublogo">
    <vt:lpwstr/>
  </property>
  <property fmtid="{D5CDD505-2E9C-101B-9397-08002B2CF9AE}" pid="4" name="CurrentLogoPath">
    <vt:lpwstr/>
  </property>
  <property fmtid="{D5CDD505-2E9C-101B-9397-08002B2CF9AE}" pid="5" name="CurrentDepartmentName">
    <vt:lpwstr/>
  </property>
  <property fmtid="{D5CDD505-2E9C-101B-9397-08002B2CF9AE}" pid="6" name="CurrentClientLogoPath">
    <vt:lpwstr/>
  </property>
  <property fmtid="{D5CDD505-2E9C-101B-9397-08002B2CF9AE}" pid="7" name="CurrentDate">
    <vt:lpwstr>26 May 2014</vt:lpwstr>
  </property>
  <property fmtid="{D5CDD505-2E9C-101B-9397-08002B2CF9AE}" pid="8" name="CurrentPresentationTitle">
    <vt:lpwstr/>
  </property>
  <property fmtid="{D5CDD505-2E9C-101B-9397-08002B2CF9AE}" pid="9" name="CurrentAuthor">
    <vt:lpwstr/>
  </property>
  <property fmtid="{D5CDD505-2E9C-101B-9397-08002B2CF9AE}" pid="10" name="CurrentDepartment">
    <vt:lpwstr/>
  </property>
  <property fmtid="{D5CDD505-2E9C-101B-9397-08002B2CF9AE}" pid="11" name="CurrentBusinessLine">
    <vt:lpwstr/>
  </property>
  <property fmtid="{D5CDD505-2E9C-101B-9397-08002B2CF9AE}" pid="12" name="CurrentCountry">
    <vt:lpwstr/>
  </property>
  <property fmtid="{D5CDD505-2E9C-101B-9397-08002B2CF9AE}" pid="13" name="CurrentPaperType">
    <vt:lpwstr/>
  </property>
  <property fmtid="{D5CDD505-2E9C-101B-9397-08002B2CF9AE}" pid="14" name="CurrentInformationClass">
    <vt:lpwstr/>
  </property>
  <property fmtid="{D5CDD505-2E9C-101B-9397-08002B2CF9AE}" pid="15" name="CurrentRestrictedAccess">
    <vt:lpwstr/>
  </property>
  <property fmtid="{D5CDD505-2E9C-101B-9397-08002B2CF9AE}" pid="16" name="CurrentLanguage">
    <vt:lpwstr/>
  </property>
  <property fmtid="{D5CDD505-2E9C-101B-9397-08002B2CF9AE}" pid="17" name="IsMyDocuments">
    <vt:bool>true</vt:bool>
  </property>
  <property fmtid="{D5CDD505-2E9C-101B-9397-08002B2CF9AE}" pid="18" name="ContentTypeId">
    <vt:lpwstr>0x010100716627C0F71D594F9537D0253E208AFE</vt:lpwstr>
  </property>
</Properties>
</file>